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5" r:id="rId3"/>
    <p:sldId id="270" r:id="rId4"/>
    <p:sldId id="266" r:id="rId5"/>
    <p:sldId id="257" r:id="rId6"/>
    <p:sldId id="267" r:id="rId7"/>
    <p:sldId id="269" r:id="rId8"/>
    <p:sldId id="268" r:id="rId9"/>
    <p:sldId id="287" r:id="rId10"/>
    <p:sldId id="260" r:id="rId11"/>
    <p:sldId id="261" r:id="rId12"/>
    <p:sldId id="264" r:id="rId13"/>
    <p:sldId id="263" r:id="rId14"/>
    <p:sldId id="275" r:id="rId15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32" dt="2022-06-07T00:21:1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58" d="100"/>
          <a:sy n="58" d="100"/>
        </p:scale>
        <p:origin x="90" y="1218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redo custSel addSld delSld modSld modMainMaster">
      <pc:chgData name="Bjornsson, Jóhann Bjorn" userId="3324117d-b910-41f3-b11d-6944a01262fa" providerId="ADAL" clId="{4680FF95-60A4-4D9A-A223-7BDF43889D65}" dt="2022-06-07T00:38:56.751" v="756" actId="1076"/>
      <pc:docMkLst>
        <pc:docMk/>
      </pc:docMkLst>
      <pc:sldChg chg="addSp delSp modSp mod modTransition">
        <pc:chgData name="Bjornsson, Jóhann Bjorn" userId="3324117d-b910-41f3-b11d-6944a01262fa" providerId="ADAL" clId="{4680FF95-60A4-4D9A-A223-7BDF43889D65}" dt="2022-06-07T00:38:56.751" v="756" actId="1076"/>
        <pc:sldMkLst>
          <pc:docMk/>
          <pc:sldMk cId="2128354429" sldId="257"/>
        </pc:sldMkLst>
        <pc:spChg chg="mod">
          <ac:chgData name="Bjornsson, Jóhann Bjorn" userId="3324117d-b910-41f3-b11d-6944a01262fa" providerId="ADAL" clId="{4680FF95-60A4-4D9A-A223-7BDF43889D65}" dt="2022-06-07T00:37:50.169" v="732" actId="14100"/>
          <ac:spMkLst>
            <pc:docMk/>
            <pc:sldMk cId="2128354429" sldId="257"/>
            <ac:spMk id="7" creationId="{E91747D0-6D88-41E3-994E-F8DC627FA9A6}"/>
          </ac:spMkLst>
        </pc:spChg>
        <pc:spChg chg="mod topLvl">
          <ac:chgData name="Bjornsson, Jóhann Bjorn" userId="3324117d-b910-41f3-b11d-6944a01262fa" providerId="ADAL" clId="{4680FF95-60A4-4D9A-A223-7BDF43889D65}" dt="2022-06-07T00:21:17.739" v="712" actId="164"/>
          <ac:spMkLst>
            <pc:docMk/>
            <pc:sldMk cId="2128354429" sldId="257"/>
            <ac:spMk id="21" creationId="{C552D86B-CAFF-48AC-A846-394B48243B3C}"/>
          </ac:spMkLst>
        </pc:spChg>
        <pc:spChg chg="add del">
          <ac:chgData name="Bjornsson, Jóhann Bjorn" userId="3324117d-b910-41f3-b11d-6944a01262fa" providerId="ADAL" clId="{4680FF95-60A4-4D9A-A223-7BDF43889D65}" dt="2022-06-07T00:12:27.238" v="624" actId="478"/>
          <ac:spMkLst>
            <pc:docMk/>
            <pc:sldMk cId="2128354429" sldId="257"/>
            <ac:spMk id="23" creationId="{26703C1B-C76E-4477-A27B-F331069AF4E2}"/>
          </ac:spMkLst>
        </pc:spChg>
        <pc:spChg chg="del mod topLvl">
          <ac:chgData name="Bjornsson, Jóhann Bjorn" userId="3324117d-b910-41f3-b11d-6944a01262fa" providerId="ADAL" clId="{4680FF95-60A4-4D9A-A223-7BDF43889D65}" dt="2022-06-07T00:20:18.568" v="693" actId="478"/>
          <ac:spMkLst>
            <pc:docMk/>
            <pc:sldMk cId="2128354429" sldId="257"/>
            <ac:spMk id="24" creationId="{E9749ED6-12B5-43E7-9556-B7EA8FE3CCC2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5" creationId="{F0BAB5AA-9493-4F42-BED7-9EB2FF54241D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6" creationId="{460A3323-9E7F-42C2-AA95-AE0CAFA1B0D9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7" creationId="{C22D0508-E87B-4103-BB96-0147AF028CF7}"/>
          </ac:spMkLst>
        </pc:spChg>
        <pc:spChg chg="mod">
          <ac:chgData name="Bjornsson, Jóhann Bjorn" userId="3324117d-b910-41f3-b11d-6944a01262fa" providerId="ADAL" clId="{4680FF95-60A4-4D9A-A223-7BDF43889D65}" dt="2022-06-07T00:11:09.152" v="609" actId="20577"/>
          <ac:spMkLst>
            <pc:docMk/>
            <pc:sldMk cId="2128354429" sldId="257"/>
            <ac:spMk id="31" creationId="{F0C1CC7D-BD2E-4874-955D-7D151A9FE6F7}"/>
          </ac:spMkLst>
        </pc:spChg>
        <pc:spChg chg="add del">
          <ac:chgData name="Bjornsson, Jóhann Bjorn" userId="3324117d-b910-41f3-b11d-6944a01262fa" providerId="ADAL" clId="{4680FF95-60A4-4D9A-A223-7BDF43889D65}" dt="2022-06-07T00:12:24.155" v="623" actId="478"/>
          <ac:spMkLst>
            <pc:docMk/>
            <pc:sldMk cId="2128354429" sldId="257"/>
            <ac:spMk id="33" creationId="{6667CD56-9FF7-4BB1-8C88-C8A880A27467}"/>
          </ac:spMkLst>
        </pc:spChg>
        <pc:spChg chg="del mod">
          <ac:chgData name="Bjornsson, Jóhann Bjorn" userId="3324117d-b910-41f3-b11d-6944a01262fa" providerId="ADAL" clId="{4680FF95-60A4-4D9A-A223-7BDF43889D65}" dt="2022-06-07T00:15:18.664" v="649" actId="478"/>
          <ac:spMkLst>
            <pc:docMk/>
            <pc:sldMk cId="2128354429" sldId="257"/>
            <ac:spMk id="37" creationId="{F705859A-49B3-4281-8511-FD4B50E192FC}"/>
          </ac:spMkLst>
        </pc:spChg>
        <pc:spChg chg="del">
          <ac:chgData name="Bjornsson, Jóhann Bjorn" userId="3324117d-b910-41f3-b11d-6944a01262fa" providerId="ADAL" clId="{4680FF95-60A4-4D9A-A223-7BDF43889D65}" dt="2022-06-07T00:11:21.306" v="612" actId="478"/>
          <ac:spMkLst>
            <pc:docMk/>
            <pc:sldMk cId="2128354429" sldId="257"/>
            <ac:spMk id="40" creationId="{A3A49ED5-C8BC-473C-AB5E-FCFC4385B555}"/>
          </ac:spMkLst>
        </pc:spChg>
        <pc:spChg chg="mod">
          <ac:chgData name="Bjornsson, Jóhann Bjorn" userId="3324117d-b910-41f3-b11d-6944a01262fa" providerId="ADAL" clId="{4680FF95-60A4-4D9A-A223-7BDF43889D65}" dt="2022-06-07T00:38:51.103" v="753" actId="1076"/>
          <ac:spMkLst>
            <pc:docMk/>
            <pc:sldMk cId="2128354429" sldId="257"/>
            <ac:spMk id="49" creationId="{B1E87A33-B1D5-47BC-8009-04B61ED16609}"/>
          </ac:spMkLst>
        </pc:spChg>
        <pc:spChg chg="mod">
          <ac:chgData name="Bjornsson, Jóhann Bjorn" userId="3324117d-b910-41f3-b11d-6944a01262fa" providerId="ADAL" clId="{4680FF95-60A4-4D9A-A223-7BDF43889D65}" dt="2022-06-07T00:38:48.322" v="752" actId="1076"/>
          <ac:spMkLst>
            <pc:docMk/>
            <pc:sldMk cId="2128354429" sldId="257"/>
            <ac:spMk id="50" creationId="{4D8439DF-47D7-493E-BE6E-CFED61E43156}"/>
          </ac:spMkLst>
        </pc:spChg>
        <pc:spChg chg="del">
          <ac:chgData name="Bjornsson, Jóhann Bjorn" userId="3324117d-b910-41f3-b11d-6944a01262fa" providerId="ADAL" clId="{4680FF95-60A4-4D9A-A223-7BDF43889D65}" dt="2022-06-07T00:21:29.040" v="716" actId="478"/>
          <ac:spMkLst>
            <pc:docMk/>
            <pc:sldMk cId="2128354429" sldId="257"/>
            <ac:spMk id="52" creationId="{A2B0DE2A-60CA-4C22-B0BD-00499A0A30FE}"/>
          </ac:spMkLst>
        </pc:spChg>
        <pc:spChg chg="mod">
          <ac:chgData name="Bjornsson, Jóhann Bjorn" userId="3324117d-b910-41f3-b11d-6944a01262fa" providerId="ADAL" clId="{4680FF95-60A4-4D9A-A223-7BDF43889D65}" dt="2022-06-07T00:17:39.310" v="674" actId="1076"/>
          <ac:spMkLst>
            <pc:docMk/>
            <pc:sldMk cId="2128354429" sldId="257"/>
            <ac:spMk id="55" creationId="{0ACE5573-7789-4299-957C-E2A3BE9AAAA0}"/>
          </ac:spMkLst>
        </pc:spChg>
        <pc:spChg chg="add mod topLvl">
          <ac:chgData name="Bjornsson, Jóhann Bjorn" userId="3324117d-b910-41f3-b11d-6944a01262fa" providerId="ADAL" clId="{4680FF95-60A4-4D9A-A223-7BDF43889D65}" dt="2022-06-07T00:21:19.912" v="713" actId="164"/>
          <ac:spMkLst>
            <pc:docMk/>
            <pc:sldMk cId="2128354429" sldId="257"/>
            <ac:spMk id="56" creationId="{B603C23D-D622-484A-8DD8-10F958F44146}"/>
          </ac:spMkLst>
        </pc:spChg>
        <pc:spChg chg="add mod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7" creationId="{8E1546DF-C754-48FF-97B6-1F92A9895628}"/>
          </ac:spMkLst>
        </pc:spChg>
        <pc:spChg chg="add mod topLvl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8" creationId="{4BE60CB1-43B1-4F56-BEFF-7B69CCDF221A}"/>
          </ac:spMkLst>
        </pc:spChg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1" creationId="{9534B4A0-8BBD-4D70-85BF-D7F87BC97818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3" creationId="{1F18EFF9-AC21-4EDD-BFAD-96488D6F9115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spChg chg="mod">
          <ac:chgData name="Bjornsson, Jóhann Bjorn" userId="3324117d-b910-41f3-b11d-6944a01262fa" providerId="ADAL" clId="{4680FF95-60A4-4D9A-A223-7BDF43889D65}" dt="2022-06-07T00:21:45.926" v="721" actId="1076"/>
          <ac:spMkLst>
            <pc:docMk/>
            <pc:sldMk cId="2128354429" sldId="257"/>
            <ac:spMk id="64" creationId="{7856B235-2F4D-46CD-83DD-C63BEA79F723}"/>
          </ac:spMkLst>
        </pc:spChg>
        <pc:spChg chg="mod">
          <ac:chgData name="Bjornsson, Jóhann Bjorn" userId="3324117d-b910-41f3-b11d-6944a01262fa" providerId="ADAL" clId="{4680FF95-60A4-4D9A-A223-7BDF43889D65}" dt="2022-06-07T00:38:56.751" v="756" actId="1076"/>
          <ac:spMkLst>
            <pc:docMk/>
            <pc:sldMk cId="2128354429" sldId="257"/>
            <ac:spMk id="67" creationId="{93587449-5A43-4B6F-980C-14E6533E7F54}"/>
          </ac:spMkLst>
        </pc:spChg>
        <pc:spChg chg="mod">
          <ac:chgData name="Bjornsson, Jóhann Bjorn" userId="3324117d-b910-41f3-b11d-6944a01262fa" providerId="ADAL" clId="{4680FF95-60A4-4D9A-A223-7BDF43889D65}" dt="2022-06-07T00:38:06.268" v="738" actId="14100"/>
          <ac:spMkLst>
            <pc:docMk/>
            <pc:sldMk cId="2128354429" sldId="257"/>
            <ac:spMk id="69" creationId="{5685EF64-A6AA-4E07-A6A6-4B1AB703DC11}"/>
          </ac:spMkLst>
        </pc:spChg>
        <pc:spChg chg="mod">
          <ac:chgData name="Bjornsson, Jóhann Bjorn" userId="3324117d-b910-41f3-b11d-6944a01262fa" providerId="ADAL" clId="{4680FF95-60A4-4D9A-A223-7BDF43889D65}" dt="2022-06-07T00:16:31.972" v="664" actId="571"/>
          <ac:spMkLst>
            <pc:docMk/>
            <pc:sldMk cId="2128354429" sldId="257"/>
            <ac:spMk id="71" creationId="{8CC83351-E60D-44B8-B777-384F5E793547}"/>
          </ac:spMkLst>
        </pc:spChg>
        <pc:spChg chg="del">
          <ac:chgData name="Bjornsson, Jóhann Bjorn" userId="3324117d-b910-41f3-b11d-6944a01262fa" providerId="ADAL" clId="{4680FF95-60A4-4D9A-A223-7BDF43889D65}" dt="2022-06-07T00:11:53.955" v="616" actId="478"/>
          <ac:spMkLst>
            <pc:docMk/>
            <pc:sldMk cId="2128354429" sldId="257"/>
            <ac:spMk id="76" creationId="{83C6DEC7-6090-4E0C-B833-2CF241C28C94}"/>
          </ac:spMkLst>
        </pc:spChg>
        <pc:spChg chg="del">
          <ac:chgData name="Bjornsson, Jóhann Bjorn" userId="3324117d-b910-41f3-b11d-6944a01262fa" providerId="ADAL" clId="{4680FF95-60A4-4D9A-A223-7BDF43889D65}" dt="2022-06-07T00:11:20.107" v="611" actId="478"/>
          <ac:spMkLst>
            <pc:docMk/>
            <pc:sldMk cId="2128354429" sldId="257"/>
            <ac:spMk id="77" creationId="{9A7D3EE4-1360-4E6D-97AE-905E55B0843D}"/>
          </ac:spMkLst>
        </pc:spChg>
        <pc:grpChg chg="add del mod">
          <ac:chgData name="Bjornsson, Jóhann Bjorn" userId="3324117d-b910-41f3-b11d-6944a01262fa" providerId="ADAL" clId="{4680FF95-60A4-4D9A-A223-7BDF43889D65}" dt="2022-06-07T00:15:51.844" v="658" actId="165"/>
          <ac:grpSpMkLst>
            <pc:docMk/>
            <pc:sldMk cId="2128354429" sldId="257"/>
            <ac:grpSpMk id="5" creationId="{C67BECAB-964E-4E66-A88E-50D812F7722D}"/>
          </ac:grpSpMkLst>
        </pc:grpChg>
        <pc:grpChg chg="mod">
          <ac:chgData name="Bjornsson, Jóhann Bjorn" userId="3324117d-b910-41f3-b11d-6944a01262fa" providerId="ADAL" clId="{4680FF95-60A4-4D9A-A223-7BDF43889D65}" dt="2022-06-07T00:37:44.732" v="731" actId="14100"/>
          <ac:grpSpMkLst>
            <pc:docMk/>
            <pc:sldMk cId="2128354429" sldId="257"/>
            <ac:grpSpMk id="6" creationId="{E97F0E8F-D514-4706-B78D-FF24D2BB2A97}"/>
          </ac:grpSpMkLst>
        </pc:grpChg>
        <pc:grpChg chg="add mod">
          <ac:chgData name="Bjornsson, Jóhann Bjorn" userId="3324117d-b910-41f3-b11d-6944a01262fa" providerId="ADAL" clId="{4680FF95-60A4-4D9A-A223-7BDF43889D65}" dt="2022-06-07T00:38:29.651" v="750" actId="1076"/>
          <ac:grpSpMkLst>
            <pc:docMk/>
            <pc:sldMk cId="2128354429" sldId="257"/>
            <ac:grpSpMk id="9" creationId="{30DA156D-0353-4348-9AB2-CB08612A7122}"/>
          </ac:grpSpMkLst>
        </pc:grpChg>
        <pc:grpChg chg="add mod">
          <ac:chgData name="Bjornsson, Jóhann Bjorn" userId="3324117d-b910-41f3-b11d-6944a01262fa" providerId="ADAL" clId="{4680FF95-60A4-4D9A-A223-7BDF43889D65}" dt="2022-06-07T00:20:39.481" v="700" actId="164"/>
          <ac:grpSpMkLst>
            <pc:docMk/>
            <pc:sldMk cId="2128354429" sldId="257"/>
            <ac:grpSpMk id="19" creationId="{5F740CC3-9B7F-4EF0-9E0E-CBAA2B30124E}"/>
          </ac:grpSpMkLst>
        </pc:grpChg>
        <pc:grpChg chg="add del mod topLvl">
          <ac:chgData name="Bjornsson, Jóhann Bjorn" userId="3324117d-b910-41f3-b11d-6944a01262fa" providerId="ADAL" clId="{4680FF95-60A4-4D9A-A223-7BDF43889D65}" dt="2022-06-07T00:16:08.440" v="659" actId="165"/>
          <ac:grpSpMkLst>
            <pc:docMk/>
            <pc:sldMk cId="2128354429" sldId="257"/>
            <ac:grpSpMk id="20" creationId="{CF39A91E-9AD7-426C-8ACA-C7CC48338889}"/>
          </ac:grpSpMkLst>
        </pc:grpChg>
        <pc:grpChg chg="del mod topLvl">
          <ac:chgData name="Bjornsson, Jóhann Bjorn" userId="3324117d-b910-41f3-b11d-6944a01262fa" providerId="ADAL" clId="{4680FF95-60A4-4D9A-A223-7BDF43889D65}" dt="2022-06-07T00:16:15.929" v="660" actId="165"/>
          <ac:grpSpMkLst>
            <pc:docMk/>
            <pc:sldMk cId="2128354429" sldId="257"/>
            <ac:grpSpMk id="22" creationId="{E0A00D2C-5D72-4AD6-840E-631CE8096E73}"/>
          </ac:grpSpMkLst>
        </pc:grpChg>
        <pc:grpChg chg="del mod">
          <ac:chgData name="Bjornsson, Jóhann Bjorn" userId="3324117d-b910-41f3-b11d-6944a01262fa" providerId="ADAL" clId="{4680FF95-60A4-4D9A-A223-7BDF43889D65}" dt="2022-06-07T00:15:22.004" v="650" actId="478"/>
          <ac:grpSpMkLst>
            <pc:docMk/>
            <pc:sldMk cId="2128354429" sldId="257"/>
            <ac:grpSpMk id="30" creationId="{DF6F6818-A58E-4B4C-9D97-971ADE274577}"/>
          </ac:grpSpMkLst>
        </pc:grpChg>
        <pc:grpChg chg="del">
          <ac:chgData name="Bjornsson, Jóhann Bjorn" userId="3324117d-b910-41f3-b11d-6944a01262fa" providerId="ADAL" clId="{4680FF95-60A4-4D9A-A223-7BDF43889D65}" dt="2022-06-07T00:11:28.680" v="613" actId="478"/>
          <ac:grpSpMkLst>
            <pc:docMk/>
            <pc:sldMk cId="2128354429" sldId="257"/>
            <ac:grpSpMk id="41" creationId="{B0C44099-5AB2-4DE5-B157-2C4D171E4F30}"/>
          </ac:grpSpMkLst>
        </pc:grpChg>
        <pc:grpChg chg="add mod">
          <ac:chgData name="Bjornsson, Jóhann Bjorn" userId="3324117d-b910-41f3-b11d-6944a01262fa" providerId="ADAL" clId="{4680FF95-60A4-4D9A-A223-7BDF43889D65}" dt="2022-06-07T00:21:00.497" v="708" actId="164"/>
          <ac:grpSpMkLst>
            <pc:docMk/>
            <pc:sldMk cId="2128354429" sldId="257"/>
            <ac:grpSpMk id="44" creationId="{9136600D-874A-4682-8180-6CCA2BE66F5F}"/>
          </ac:grpSpMkLst>
        </pc:grpChg>
        <pc:grpChg chg="add mod">
          <ac:chgData name="Bjornsson, Jóhann Bjorn" userId="3324117d-b910-41f3-b11d-6944a01262fa" providerId="ADAL" clId="{4680FF95-60A4-4D9A-A223-7BDF43889D65}" dt="2022-06-07T00:21:00.170" v="707" actId="164"/>
          <ac:grpSpMkLst>
            <pc:docMk/>
            <pc:sldMk cId="2128354429" sldId="257"/>
            <ac:grpSpMk id="45" creationId="{F448F725-5389-4E96-AAF5-2A6CE6DC7187}"/>
          </ac:grpSpMkLst>
        </pc:grpChg>
        <pc:grpChg chg="add mod">
          <ac:chgData name="Bjornsson, Jóhann Bjorn" userId="3324117d-b910-41f3-b11d-6944a01262fa" providerId="ADAL" clId="{4680FF95-60A4-4D9A-A223-7BDF43889D65}" dt="2022-06-07T00:20:57.736" v="706" actId="164"/>
          <ac:grpSpMkLst>
            <pc:docMk/>
            <pc:sldMk cId="2128354429" sldId="257"/>
            <ac:grpSpMk id="46" creationId="{B69EA0EA-5DCE-4A78-AD6C-9167CDE8C943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47" creationId="{AB6068CF-DCFC-4AE9-AD35-C3F083600C3E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53" creationId="{635A5F9B-293B-4AF1-8B19-C8B0B5423AF5}"/>
          </ac:grpSpMkLst>
        </pc:grpChg>
        <pc:grpChg chg="add mod">
          <ac:chgData name="Bjornsson, Jóhann Bjorn" userId="3324117d-b910-41f3-b11d-6944a01262fa" providerId="ADAL" clId="{4680FF95-60A4-4D9A-A223-7BDF43889D65}" dt="2022-06-07T00:38:43.195" v="751" actId="465"/>
          <ac:grpSpMkLst>
            <pc:docMk/>
            <pc:sldMk cId="2128354429" sldId="257"/>
            <ac:grpSpMk id="60" creationId="{B50BEA00-1268-455E-8170-5ACD1BCC767B}"/>
          </ac:grpSpMkLst>
        </pc:gr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grpChg chg="mod">
          <ac:chgData name="Bjornsson, Jóhann Bjorn" userId="3324117d-b910-41f3-b11d-6944a01262fa" providerId="ADAL" clId="{4680FF95-60A4-4D9A-A223-7BDF43889D65}" dt="2022-06-07T00:38:54.847" v="755" actId="1076"/>
          <ac:grpSpMkLst>
            <pc:docMk/>
            <pc:sldMk cId="2128354429" sldId="257"/>
            <ac:grpSpMk id="65" creationId="{91CE3FDD-854E-4A80-BF09-7D9C9DF83A5A}"/>
          </ac:grpSpMkLst>
        </pc:grpChg>
        <pc:grpChg chg="add mod">
          <ac:chgData name="Bjornsson, Jóhann Bjorn" userId="3324117d-b910-41f3-b11d-6944a01262fa" providerId="ADAL" clId="{4680FF95-60A4-4D9A-A223-7BDF43889D65}" dt="2022-06-07T00:38:21.240" v="745" actId="14100"/>
          <ac:grpSpMkLst>
            <pc:docMk/>
            <pc:sldMk cId="2128354429" sldId="257"/>
            <ac:grpSpMk id="68" creationId="{1660241E-B859-4148-B015-B7E74BE35A80}"/>
          </ac:grpSpMkLst>
        </pc:grpChg>
        <pc:grpChg chg="del">
          <ac:chgData name="Bjornsson, Jóhann Bjorn" userId="3324117d-b910-41f3-b11d-6944a01262fa" providerId="ADAL" clId="{4680FF95-60A4-4D9A-A223-7BDF43889D65}" dt="2022-06-07T00:21:41.047" v="719" actId="478"/>
          <ac:grpSpMkLst>
            <pc:docMk/>
            <pc:sldMk cId="2128354429" sldId="257"/>
            <ac:grpSpMk id="73" creationId="{6609B8A0-537D-482B-A39C-24B4D4177CB4}"/>
          </ac:grpSpMkLst>
        </pc:grpChg>
        <pc:grpChg chg="del">
          <ac:chgData name="Bjornsson, Jóhann Bjorn" userId="3324117d-b910-41f3-b11d-6944a01262fa" providerId="ADAL" clId="{4680FF95-60A4-4D9A-A223-7BDF43889D65}" dt="2022-06-07T00:21:42.455" v="720" actId="478"/>
          <ac:grpSpMkLst>
            <pc:docMk/>
            <pc:sldMk cId="2128354429" sldId="257"/>
            <ac:grpSpMk id="78" creationId="{E93D1ABB-94D5-4356-A854-C4B4D5D25DF9}"/>
          </ac:grpSpMkLst>
        </pc:grpChg>
        <pc:grpChg chg="add mod">
          <ac:chgData name="Bjornsson, Jóhann Bjorn" userId="3324117d-b910-41f3-b11d-6944a01262fa" providerId="ADAL" clId="{4680FF95-60A4-4D9A-A223-7BDF43889D65}" dt="2022-06-07T00:21:17.739" v="712" actId="164"/>
          <ac:grpSpMkLst>
            <pc:docMk/>
            <pc:sldMk cId="2128354429" sldId="257"/>
            <ac:grpSpMk id="82" creationId="{7E16D1D7-D356-49DA-AE01-426E3DABFC01}"/>
          </ac:grpSpMkLst>
        </pc:grpChg>
        <pc:grpChg chg="add mod">
          <ac:chgData name="Bjornsson, Jóhann Bjorn" userId="3324117d-b910-41f3-b11d-6944a01262fa" providerId="ADAL" clId="{4680FF95-60A4-4D9A-A223-7BDF43889D65}" dt="2022-06-07T00:21:19.912" v="713" actId="164"/>
          <ac:grpSpMkLst>
            <pc:docMk/>
            <pc:sldMk cId="2128354429" sldId="257"/>
            <ac:grpSpMk id="83" creationId="{240263B8-D736-45DC-ABDE-DCED67F9482C}"/>
          </ac:grpSpMkLst>
        </pc:grpChg>
        <pc:grpChg chg="add 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84" creationId="{D5B825D2-F8D6-45DC-8F4E-FE08D0E6134D}"/>
          </ac:grpSpMkLst>
        </pc:grpChg>
        <pc:picChg chg="mod">
          <ac:chgData name="Bjornsson, Jóhann Bjorn" userId="3324117d-b910-41f3-b11d-6944a01262fa" providerId="ADAL" clId="{4680FF95-60A4-4D9A-A223-7BDF43889D65}" dt="2022-06-07T00:21:52.880" v="723" actId="1076"/>
          <ac:picMkLst>
            <pc:docMk/>
            <pc:sldMk cId="2128354429" sldId="257"/>
            <ac:picMk id="8" creationId="{9C85CB7B-64C9-4000-A041-CD2FEC43059F}"/>
          </ac:picMkLst>
        </pc:picChg>
        <pc:picChg chg="mod topLvl">
          <ac:chgData name="Bjornsson, Jóhann Bjorn" userId="3324117d-b910-41f3-b11d-6944a01262fa" providerId="ADAL" clId="{4680FF95-60A4-4D9A-A223-7BDF43889D65}" dt="2022-06-07T00:21:09.800" v="711" actId="164"/>
          <ac:picMkLst>
            <pc:docMk/>
            <pc:sldMk cId="2128354429" sldId="257"/>
            <ac:picMk id="28" creationId="{54209226-7A36-42D6-85B7-AB326913E2C2}"/>
          </ac:picMkLst>
        </pc:picChg>
        <pc:picChg chg="del">
          <ac:chgData name="Bjornsson, Jóhann Bjorn" userId="3324117d-b910-41f3-b11d-6944a01262fa" providerId="ADAL" clId="{4680FF95-60A4-4D9A-A223-7BDF43889D65}" dt="2022-06-07T00:13:44.597" v="645" actId="478"/>
          <ac:picMkLst>
            <pc:docMk/>
            <pc:sldMk cId="2128354429" sldId="257"/>
            <ac:picMk id="29" creationId="{5D918C37-8900-496F-BFE2-31491F438197}"/>
          </ac:picMkLst>
        </pc:picChg>
        <pc:picChg chg="add mod topLvl">
          <ac:chgData name="Bjornsson, Jóhann Bjorn" userId="3324117d-b910-41f3-b11d-6944a01262fa" providerId="ADAL" clId="{4680FF95-60A4-4D9A-A223-7BDF43889D65}" dt="2022-06-07T00:16:23.559" v="661" actId="164"/>
          <ac:picMkLst>
            <pc:docMk/>
            <pc:sldMk cId="2128354429" sldId="257"/>
            <ac:picMk id="59" creationId="{2B00B697-CCEE-4C25-B910-EF41F9A3A955}"/>
          </ac:picMkLst>
        </pc:picChg>
        <pc:picChg chg="mod">
          <ac:chgData name="Bjornsson, Jóhann Bjorn" userId="3324117d-b910-41f3-b11d-6944a01262fa" providerId="ADAL" clId="{4680FF95-60A4-4D9A-A223-7BDF43889D65}" dt="2022-06-07T00:16:28.576" v="663" actId="571"/>
          <ac:picMkLst>
            <pc:docMk/>
            <pc:sldMk cId="2128354429" sldId="257"/>
            <ac:picMk id="62" creationId="{4BFFA43A-0EAC-447F-8629-03CFD122D4C3}"/>
          </ac:picMkLst>
        </pc:picChg>
        <pc:picChg chg="mod">
          <ac:chgData name="Bjornsson, Jóhann Bjorn" userId="3324117d-b910-41f3-b11d-6944a01262fa" providerId="ADAL" clId="{4680FF95-60A4-4D9A-A223-7BDF43889D65}" dt="2022-06-07T00:16:31.972" v="664" actId="571"/>
          <ac:picMkLst>
            <pc:docMk/>
            <pc:sldMk cId="2128354429" sldId="257"/>
            <ac:picMk id="70" creationId="{6F5F7004-FEE2-4DCA-AD1A-E5AB339DB5A6}"/>
          </ac:picMkLst>
        </pc:picChg>
        <pc:cxnChg chg="mod">
          <ac:chgData name="Bjornsson, Jóhann Bjorn" userId="3324117d-b910-41f3-b11d-6944a01262fa" providerId="ADAL" clId="{4680FF95-60A4-4D9A-A223-7BDF43889D65}" dt="2022-06-07T00:11:28.680" v="613" actId="478"/>
          <ac:cxnSpMkLst>
            <pc:docMk/>
            <pc:sldMk cId="2128354429" sldId="257"/>
            <ac:cxnSpMk id="42" creationId="{9DC93D6B-43E4-48FD-9D3F-A0CA022271B8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48" creationId="{B3BD923E-30B3-4207-AB0E-682876CBB684}"/>
          </ac:cxnSpMkLst>
        </pc:cxnChg>
        <pc:cxnChg chg="del">
          <ac:chgData name="Bjornsson, Jóhann Bjorn" userId="3324117d-b910-41f3-b11d-6944a01262fa" providerId="ADAL" clId="{4680FF95-60A4-4D9A-A223-7BDF43889D65}" dt="2022-06-07T00:21:27.752" v="715" actId="478"/>
          <ac:cxnSpMkLst>
            <pc:docMk/>
            <pc:sldMk cId="2128354429" sldId="257"/>
            <ac:cxnSpMk id="51" creationId="{F7839403-3B40-4F0E-99B5-CD4ADEBB2B9E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54" creationId="{E5A0B0F8-2EA9-43A0-A5F2-6C7B1783391F}"/>
          </ac:cxnSpMkLst>
        </pc:cxn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  <pc:cxnChg chg="mod">
          <ac:chgData name="Bjornsson, Jóhann Bjorn" userId="3324117d-b910-41f3-b11d-6944a01262fa" providerId="ADAL" clId="{4680FF95-60A4-4D9A-A223-7BDF43889D65}" dt="2022-06-07T00:22:17.618" v="728" actId="14100"/>
          <ac:cxnSpMkLst>
            <pc:docMk/>
            <pc:sldMk cId="2128354429" sldId="257"/>
            <ac:cxnSpMk id="66" creationId="{EDB7C801-9C40-45B2-A39B-27CFBB114F4F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72" creationId="{747DCBF0-293E-43D8-A019-CE59A109E442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81" creationId="{07A2B42A-B5F4-4961-BE65-C24413466D3D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D7136EF-5FD6-4167-8FD2-92BA8C0FD4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365" y="1719694"/>
            <a:ext cx="4485648" cy="425018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D7444BB0-A043-49B3-8384-528FD4BAEBE2}"/>
              </a:ext>
            </a:extLst>
          </p:cNvPr>
          <p:cNvGrpSpPr/>
          <p:nvPr/>
        </p:nvGrpSpPr>
        <p:grpSpPr>
          <a:xfrm>
            <a:off x="6084359" y="2146363"/>
            <a:ext cx="5349600" cy="3358698"/>
            <a:chOff x="6084359" y="2146363"/>
            <a:chExt cx="5349600" cy="33586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08CF122-32DB-4491-8D8B-44A7402039CE}"/>
                </a:ext>
              </a:extLst>
            </p:cNvPr>
            <p:cNvCxnSpPr/>
            <p:nvPr/>
          </p:nvCxnSpPr>
          <p:spPr>
            <a:xfrm>
              <a:off x="9894627" y="3674073"/>
              <a:ext cx="1073021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>
              <a:glow rad="266700">
                <a:schemeClr val="tx1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7C413CC0-C2C7-42E1-8ADF-D8B383ACD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84359" y="2146363"/>
              <a:ext cx="5349600" cy="3358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3994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556C4-3F4B-4FC6-ACF9-7339460ED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Agenda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035295-6CF9-4DA5-B613-28BB55C2D3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23535" y="3840983"/>
            <a:ext cx="6545140" cy="1566532"/>
          </a:xfrm>
        </p:spPr>
        <p:txBody>
          <a:bodyPr/>
          <a:lstStyle/>
          <a:p>
            <a:r>
              <a:rPr lang="is-IS" dirty="0">
                <a:latin typeface="+mj-lt"/>
              </a:rPr>
              <a:t>Microservices</a:t>
            </a:r>
          </a:p>
          <a:p>
            <a:r>
              <a:rPr lang="is-IS" dirty="0">
                <a:latin typeface="+mj-lt"/>
              </a:rPr>
              <a:t>Container Orchestration</a:t>
            </a:r>
          </a:p>
          <a:p>
            <a:r>
              <a:rPr lang="is-IS" dirty="0">
                <a:latin typeface="+mj-lt"/>
              </a:rPr>
              <a:t>Cloud providers</a:t>
            </a:r>
            <a:endParaRPr lang="da-DK" dirty="0">
              <a:latin typeface="+mj-lt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40ABAD7-B643-4B5B-85AB-37F897021F27}"/>
              </a:ext>
            </a:extLst>
          </p:cNvPr>
          <p:cNvSpPr txBox="1">
            <a:spLocks/>
          </p:cNvSpPr>
          <p:nvPr/>
        </p:nvSpPr>
        <p:spPr bwMode="gray">
          <a:xfrm>
            <a:off x="469900" y="3840983"/>
            <a:ext cx="2125816" cy="15665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609585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21917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82875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2438339" indent="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04792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s-IS" dirty="0">
                <a:solidFill>
                  <a:srgbClr val="2C5234"/>
                </a:solidFill>
              </a:rPr>
              <a:t>Docker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Kubernetes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Terraform</a:t>
            </a:r>
            <a:endParaRPr lang="da-DK" dirty="0">
              <a:solidFill>
                <a:srgbClr val="2C52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435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2C860-6393-4582-B457-CF89A0A4A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9900" y="3677264"/>
            <a:ext cx="10418233" cy="264487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Microsoft Dotnet (C#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Dock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RabbitMQ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Kubernet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Helm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EAF868-97B7-4BB1-9E32-CD5E83D9D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chnology we‘re using toda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69953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EBEB6DB-5DC1-42DA-A441-0E6F2D6B4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5846574" cy="4708525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Focused purpos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Statel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Elastic</a:t>
            </a:r>
            <a:endParaRPr lang="da-DK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5E24B97-4DF4-4829-A6FD-A723EAB61A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484" y="317500"/>
            <a:ext cx="10708216" cy="698500"/>
          </a:xfrm>
        </p:spPr>
        <p:txBody>
          <a:bodyPr/>
          <a:lstStyle/>
          <a:p>
            <a:r>
              <a:rPr lang="is-IS" sz="3200" dirty="0"/>
              <a:t>Microservices</a:t>
            </a:r>
            <a:endParaRPr lang="da-DK" sz="3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D49961-9D66-4027-BAF6-95C05D597384}"/>
              </a:ext>
            </a:extLst>
          </p:cNvPr>
          <p:cNvSpPr/>
          <p:nvPr/>
        </p:nvSpPr>
        <p:spPr bwMode="gray">
          <a:xfrm>
            <a:off x="7349772" y="698629"/>
            <a:ext cx="3465711" cy="183212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t"/>
          <a:lstStyle/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Order Pizza</a:t>
            </a:r>
          </a:p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Make Pizza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803459-E889-4510-BDD8-45DF28AEFD5C}"/>
              </a:ext>
            </a:extLst>
          </p:cNvPr>
          <p:cNvGrpSpPr/>
          <p:nvPr/>
        </p:nvGrpSpPr>
        <p:grpSpPr>
          <a:xfrm>
            <a:off x="7044972" y="4593866"/>
            <a:ext cx="1922047" cy="801841"/>
            <a:chOff x="6956482" y="3944937"/>
            <a:chExt cx="1922047" cy="80184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A6A24B3-592A-4C4B-AF54-0EF3884787AC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D68291-345D-474E-AE1E-9E945291C16F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AC64B1-5BA6-4FDB-923E-5BC0E3ED8F14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6FB8F4A-5840-4652-8EE6-213D828D4E62}"/>
              </a:ext>
            </a:extLst>
          </p:cNvPr>
          <p:cNvGrpSpPr/>
          <p:nvPr/>
        </p:nvGrpSpPr>
        <p:grpSpPr>
          <a:xfrm>
            <a:off x="9444043" y="4593866"/>
            <a:ext cx="1922047" cy="801841"/>
            <a:chOff x="6956482" y="3944937"/>
            <a:chExt cx="1922047" cy="80184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A7E9A90-C64D-44E8-B142-99459D0F6AE9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7E034D-715B-460F-B8E6-7CBA1475AAD1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A85207-A48D-4188-B3D8-29E6BED2472A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Make pizza</a:t>
              </a:r>
            </a:p>
          </p:txBody>
        </p:sp>
      </p:grpSp>
      <p:sp>
        <p:nvSpPr>
          <p:cNvPr id="25" name="Arrow: Down 24">
            <a:extLst>
              <a:ext uri="{FF2B5EF4-FFF2-40B4-BE49-F238E27FC236}">
                <a16:creationId xmlns:a16="http://schemas.microsoft.com/office/drawing/2014/main" id="{6E6C5732-D41E-4C9A-8057-74206CC710C0}"/>
              </a:ext>
            </a:extLst>
          </p:cNvPr>
          <p:cNvSpPr/>
          <p:nvPr/>
        </p:nvSpPr>
        <p:spPr bwMode="gray">
          <a:xfrm>
            <a:off x="8858943" y="3111910"/>
            <a:ext cx="447368" cy="76691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561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316928"/>
            <a:ext cx="1643119" cy="938309"/>
            <a:chOff x="4211995" y="596972"/>
            <a:chExt cx="1643119" cy="938309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7" idx="2"/>
              <a:endCxn id="50" idx="0"/>
            </p:cNvCxnSpPr>
            <p:nvPr/>
          </p:nvCxnSpPr>
          <p:spPr>
            <a:xfrm flipH="1">
              <a:off x="4211995" y="596972"/>
              <a:ext cx="1643119" cy="91499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661130" y="2820448"/>
            <a:ext cx="2918089" cy="651286"/>
            <a:chOff x="5148436" y="2281148"/>
            <a:chExt cx="2369013" cy="776742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7" idx="3"/>
            </p:cNvCxnSpPr>
            <p:nvPr/>
          </p:nvCxnSpPr>
          <p:spPr>
            <a:xfrm flipH="1" flipV="1">
              <a:off x="5148436" y="2564829"/>
              <a:ext cx="2369013" cy="493061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827981" y="2579965"/>
            <a:ext cx="833149" cy="736963"/>
            <a:chOff x="3935898" y="1117829"/>
            <a:chExt cx="833149" cy="736963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E16D1D7-D356-49DA-AE01-426E3DABFC01}"/>
                </a:ext>
              </a:extLst>
            </p:cNvPr>
            <p:cNvGrpSpPr/>
            <p:nvPr/>
          </p:nvGrpSpPr>
          <p:grpSpPr>
            <a:xfrm>
              <a:off x="3935898" y="1337556"/>
              <a:ext cx="833149" cy="517236"/>
              <a:chOff x="3935898" y="1337556"/>
              <a:chExt cx="833149" cy="517236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22D0508-E87B-4103-BB96-0147AF028CF7}"/>
                  </a:ext>
                </a:extLst>
              </p:cNvPr>
              <p:cNvSpPr/>
              <p:nvPr/>
            </p:nvSpPr>
            <p:spPr bwMode="gray">
              <a:xfrm>
                <a:off x="3935898" y="1337556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Pod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8" name="Picture 27" descr="Icon&#10;&#10;Description automatically generated">
                <a:extLst>
                  <a:ext uri="{FF2B5EF4-FFF2-40B4-BE49-F238E27FC236}">
                    <a16:creationId xmlns:a16="http://schemas.microsoft.com/office/drawing/2014/main" id="{54209226-7A36-42D6-85B7-AB326913E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08118" y="1578244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3992466" y="1117829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sp>
        <p:nvSpPr>
          <p:cNvPr id="42" name="Title 11">
            <a:extLst>
              <a:ext uri="{FF2B5EF4-FFF2-40B4-BE49-F238E27FC236}">
                <a16:creationId xmlns:a16="http://schemas.microsoft.com/office/drawing/2014/main" id="{4B575543-166F-4B64-82C2-00B071739A0F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Docker Desktop – Dev machine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E49E2E3-A8EE-49E1-8498-E1C0DFF4DD32}"/>
              </a:ext>
            </a:extLst>
          </p:cNvPr>
          <p:cNvSpPr txBox="1"/>
          <p:nvPr/>
        </p:nvSpPr>
        <p:spPr bwMode="gray">
          <a:xfrm>
            <a:off x="530942" y="875071"/>
            <a:ext cx="10677832" cy="48669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/>
            <a:r>
              <a:rPr lang="fr-FR" sz="4400" b="1" dirty="0"/>
              <a:t>Code Repo:</a:t>
            </a:r>
          </a:p>
          <a:p>
            <a:pPr algn="l"/>
            <a:r>
              <a:rPr lang="fr-FR" sz="3600" dirty="0"/>
              <a:t>https://dev.azure.com/dk-consulting-deloitte/DK DC SE </a:t>
            </a:r>
            <a:r>
              <a:rPr lang="fr-FR" sz="3600" dirty="0" err="1"/>
              <a:t>Developer</a:t>
            </a:r>
            <a:r>
              <a:rPr lang="fr-FR" sz="3600" dirty="0"/>
              <a:t> Courses/_git/</a:t>
            </a:r>
            <a:r>
              <a:rPr lang="fr-FR" sz="3600" dirty="0" err="1"/>
              <a:t>microservices</a:t>
            </a:r>
            <a:r>
              <a:rPr lang="fr-FR" sz="3600" dirty="0"/>
              <a:t>-course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866387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706C35-4CEA-467B-90B0-37F952687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4059" y="117214"/>
            <a:ext cx="3252997" cy="6623572"/>
          </a:xfrm>
          <a:prstGeom prst="rect">
            <a:avLst/>
          </a:prstGeom>
        </p:spPr>
      </p:pic>
      <p:sp>
        <p:nvSpPr>
          <p:cNvPr id="4" name="Title 11">
            <a:extLst>
              <a:ext uri="{FF2B5EF4-FFF2-40B4-BE49-F238E27FC236}">
                <a16:creationId xmlns:a16="http://schemas.microsoft.com/office/drawing/2014/main" id="{83AA7AC3-1161-40F3-BA03-76B523AB0049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707069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Kubernetes</a:t>
            </a:r>
            <a:endParaRPr lang="da-DK" sz="3200" dirty="0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CEFA3894-8263-4712-850F-5CC594DB4825}"/>
              </a:ext>
            </a:extLst>
          </p:cNvPr>
          <p:cNvSpPr txBox="1">
            <a:spLocks/>
          </p:cNvSpPr>
          <p:nvPr/>
        </p:nvSpPr>
        <p:spPr>
          <a:xfrm>
            <a:off x="480483" y="1590675"/>
            <a:ext cx="7473813" cy="4708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clarative vs Imperativ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ployment op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Horizontal vs Vertical scaling</a:t>
            </a:r>
            <a:endParaRPr lang="da-DK" sz="4400" dirty="0"/>
          </a:p>
        </p:txBody>
      </p:sp>
    </p:spTree>
    <p:extLst>
      <p:ext uri="{BB962C8B-B14F-4D97-AF65-F5344CB8AC3E}">
        <p14:creationId xmlns:p14="http://schemas.microsoft.com/office/powerpoint/2010/main" val="2389672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97F0E8F-D514-4706-B78D-FF24D2BB2A97}"/>
              </a:ext>
            </a:extLst>
          </p:cNvPr>
          <p:cNvGrpSpPr/>
          <p:nvPr/>
        </p:nvGrpSpPr>
        <p:grpSpPr>
          <a:xfrm>
            <a:off x="920449" y="915696"/>
            <a:ext cx="9437054" cy="5160363"/>
            <a:chOff x="662485" y="2131381"/>
            <a:chExt cx="8670520" cy="48173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747D0-6D88-41E3-994E-F8DC627FA9A6}"/>
                </a:ext>
              </a:extLst>
            </p:cNvPr>
            <p:cNvSpPr/>
            <p:nvPr/>
          </p:nvSpPr>
          <p:spPr bwMode="gray">
            <a:xfrm>
              <a:off x="662485" y="2131381"/>
              <a:ext cx="8670520" cy="4817315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Kubernetes cluster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9C85CB7B-64C9-4000-A041-CD2FEC430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23935" y="2171998"/>
              <a:ext cx="274712" cy="2667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426465"/>
            <a:ext cx="1712529" cy="828772"/>
            <a:chOff x="4211995" y="706509"/>
            <a:chExt cx="1712529" cy="828772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1" idx="2"/>
              <a:endCxn id="50" idx="0"/>
            </p:cNvCxnSpPr>
            <p:nvPr/>
          </p:nvCxnSpPr>
          <p:spPr>
            <a:xfrm flipH="1">
              <a:off x="4211995" y="706509"/>
              <a:ext cx="1712529" cy="805454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882826" y="2820448"/>
            <a:ext cx="2696392" cy="651287"/>
            <a:chOff x="5328417" y="2281148"/>
            <a:chExt cx="2189031" cy="776743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1" idx="3"/>
            </p:cNvCxnSpPr>
            <p:nvPr/>
          </p:nvCxnSpPr>
          <p:spPr>
            <a:xfrm flipH="1" flipV="1">
              <a:off x="5328417" y="2373133"/>
              <a:ext cx="2189031" cy="684758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745104" y="2102748"/>
            <a:ext cx="1137723" cy="1323717"/>
            <a:chOff x="3853021" y="640612"/>
            <a:chExt cx="1137723" cy="1323717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240263B8-D736-45DC-ABDE-DCED67F9482C}"/>
                </a:ext>
              </a:extLst>
            </p:cNvPr>
            <p:cNvGrpSpPr/>
            <p:nvPr/>
          </p:nvGrpSpPr>
          <p:grpSpPr>
            <a:xfrm>
              <a:off x="3853021" y="906548"/>
              <a:ext cx="1137723" cy="1057781"/>
              <a:chOff x="3853021" y="906548"/>
              <a:chExt cx="1137723" cy="105778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552D86B-CAFF-48AC-A846-394B48243B3C}"/>
                  </a:ext>
                </a:extLst>
              </p:cNvPr>
              <p:cNvSpPr/>
              <p:nvPr/>
            </p:nvSpPr>
            <p:spPr bwMode="gray">
              <a:xfrm>
                <a:off x="3853021" y="906548"/>
                <a:ext cx="1137723" cy="1057781"/>
              </a:xfrm>
              <a:prstGeom prst="rect">
                <a:avLst/>
              </a:prstGeom>
              <a:solidFill>
                <a:schemeClr val="accent3">
                  <a:alpha val="40000"/>
                </a:schemeClr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Service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7E16D1D7-D356-49DA-AE01-426E3DABFC01}"/>
                  </a:ext>
                </a:extLst>
              </p:cNvPr>
              <p:cNvGrpSpPr/>
              <p:nvPr/>
            </p:nvGrpSpPr>
            <p:grpSpPr>
              <a:xfrm>
                <a:off x="3935898" y="1251830"/>
                <a:ext cx="934997" cy="602962"/>
                <a:chOff x="3935898" y="1251830"/>
                <a:chExt cx="934997" cy="602962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0BAB5AA-9493-4F42-BED7-9EB2FF54241D}"/>
                    </a:ext>
                  </a:extLst>
                </p:cNvPr>
                <p:cNvSpPr/>
                <p:nvPr/>
              </p:nvSpPr>
              <p:spPr bwMode="gray">
                <a:xfrm>
                  <a:off x="4037746" y="1251830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60A3323-9E7F-42C2-AA95-AE0CAFA1B0D9}"/>
                    </a:ext>
                  </a:extLst>
                </p:cNvPr>
                <p:cNvSpPr/>
                <p:nvPr/>
              </p:nvSpPr>
              <p:spPr bwMode="gray">
                <a:xfrm>
                  <a:off x="3983523" y="1294693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C22D0508-E87B-4103-BB96-0147AF028CF7}"/>
                    </a:ext>
                  </a:extLst>
                </p:cNvPr>
                <p:cNvSpPr/>
                <p:nvPr/>
              </p:nvSpPr>
              <p:spPr bwMode="gray">
                <a:xfrm>
                  <a:off x="3935898" y="1337556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is-IS" sz="1600" b="1" dirty="0">
                      <a:solidFill>
                        <a:schemeClr val="bg1"/>
                      </a:solidFill>
                    </a:rPr>
                    <a:t>Pod</a:t>
                  </a:r>
                  <a:endParaRPr lang="da-DK" sz="1600" b="1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28" name="Picture 27" descr="Icon&#10;&#10;Description automatically generated">
                  <a:extLst>
                    <a:ext uri="{FF2B5EF4-FFF2-40B4-BE49-F238E27FC236}">
                      <a16:creationId xmlns:a16="http://schemas.microsoft.com/office/drawing/2014/main" id="{54209226-7A36-42D6-85B7-AB326913E2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008118" y="1578244"/>
                  <a:ext cx="295005" cy="207916"/>
                </a:xfrm>
                <a:prstGeom prst="rect">
                  <a:avLst/>
                </a:prstGeom>
                <a:effectLst>
                  <a:glow rad="12700">
                    <a:schemeClr val="bg1">
                      <a:alpha val="65000"/>
                    </a:schemeClr>
                  </a:glow>
                </a:effectLst>
              </p:spPr>
            </p:pic>
          </p:grp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4061876" y="640612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50BEA00-1268-455E-8170-5ACD1BCC767B}"/>
              </a:ext>
            </a:extLst>
          </p:cNvPr>
          <p:cNvGrpSpPr/>
          <p:nvPr/>
        </p:nvGrpSpPr>
        <p:grpSpPr>
          <a:xfrm>
            <a:off x="1391425" y="2738762"/>
            <a:ext cx="1142921" cy="1030516"/>
            <a:chOff x="705382" y="2685967"/>
            <a:chExt cx="833149" cy="75121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534B4A0-8BBD-4D70-85BF-D7F87BC97818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62" name="Picture 61" descr="Icon&#10;&#10;Description automatically generated">
              <a:extLst>
                <a:ext uri="{FF2B5EF4-FFF2-40B4-BE49-F238E27FC236}">
                  <a16:creationId xmlns:a16="http://schemas.microsoft.com/office/drawing/2014/main" id="{4BFFA43A-0EAC-447F-8629-03CFD122D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F18EFF9-AC21-4EDD-BFAD-96488D6F9115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660241E-B859-4148-B015-B7E74BE35A80}"/>
              </a:ext>
            </a:extLst>
          </p:cNvPr>
          <p:cNvGrpSpPr/>
          <p:nvPr/>
        </p:nvGrpSpPr>
        <p:grpSpPr>
          <a:xfrm>
            <a:off x="1391425" y="1462664"/>
            <a:ext cx="1151315" cy="1038085"/>
            <a:chOff x="705382" y="2685967"/>
            <a:chExt cx="833149" cy="75121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685EF64-A6AA-4E07-A6A6-4B1AB703DC11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70" name="Picture 69" descr="Icon&#10;&#10;Description automatically generated">
              <a:extLst>
                <a:ext uri="{FF2B5EF4-FFF2-40B4-BE49-F238E27FC236}">
                  <a16:creationId xmlns:a16="http://schemas.microsoft.com/office/drawing/2014/main" id="{6F5F7004-FEE2-4DCA-AD1A-E5AB339DB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CC83351-E60D-44B8-B777-384F5E793547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47DCBF0-293E-43D8-A019-CE59A109E442}"/>
              </a:ext>
            </a:extLst>
          </p:cNvPr>
          <p:cNvCxnSpPr>
            <a:cxnSpLocks/>
            <a:stCxn id="50" idx="1"/>
            <a:endCxn id="69" idx="3"/>
          </p:cNvCxnSpPr>
          <p:nvPr/>
        </p:nvCxnSpPr>
        <p:spPr>
          <a:xfrm flipH="1" flipV="1">
            <a:off x="2542740" y="2143369"/>
            <a:ext cx="2564134" cy="2347168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07A2B42A-B5F4-4961-BE65-C24413466D3D}"/>
              </a:ext>
            </a:extLst>
          </p:cNvPr>
          <p:cNvCxnSpPr>
            <a:cxnSpLocks/>
            <a:stCxn id="50" idx="1"/>
            <a:endCxn id="61" idx="3"/>
          </p:cNvCxnSpPr>
          <p:nvPr/>
        </p:nvCxnSpPr>
        <p:spPr>
          <a:xfrm flipH="1" flipV="1">
            <a:off x="2534346" y="3414504"/>
            <a:ext cx="2572528" cy="1076033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11">
            <a:extLst>
              <a:ext uri="{FF2B5EF4-FFF2-40B4-BE49-F238E27FC236}">
                <a16:creationId xmlns:a16="http://schemas.microsoft.com/office/drawing/2014/main" id="{8A218B2A-57F8-4EE1-8DE8-B1452848D059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Kubernetes – Production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318819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23B52FD-4BEB-4D4A-B3F0-F20B401D074D}"/>
              </a:ext>
            </a:extLst>
          </p:cNvPr>
          <p:cNvCxnSpPr>
            <a:cxnSpLocks/>
          </p:cNvCxnSpPr>
          <p:nvPr/>
        </p:nvCxnSpPr>
        <p:spPr>
          <a:xfrm>
            <a:off x="8137264" y="4488461"/>
            <a:ext cx="1073021" cy="0"/>
          </a:xfrm>
          <a:prstGeom prst="line">
            <a:avLst/>
          </a:prstGeom>
          <a:ln>
            <a:solidFill>
              <a:schemeClr val="bg1"/>
            </a:solidFill>
          </a:ln>
          <a:effectLst>
            <a:glow rad="266700">
              <a:schemeClr val="tx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408D0DA-8743-4B15-8B32-D2CD65FCA7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8702" y="1146311"/>
            <a:ext cx="8570784" cy="5283076"/>
          </a:xfrm>
        </p:spPr>
      </p:pic>
      <p:sp>
        <p:nvSpPr>
          <p:cNvPr id="11" name="Title 11">
            <a:extLst>
              <a:ext uri="{FF2B5EF4-FFF2-40B4-BE49-F238E27FC236}">
                <a16:creationId xmlns:a16="http://schemas.microsoft.com/office/drawing/2014/main" id="{F563F8E3-651B-4F4B-951F-15EDD8222EB6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End result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4084940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2</TotalTime>
  <Words>154</Words>
  <Application>Microsoft Office PowerPoint</Application>
  <PresentationFormat>Widescreen</PresentationFormat>
  <Paragraphs>6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Agenda</vt:lpstr>
      <vt:lpstr>Technology we‘re using today</vt:lpstr>
      <vt:lpstr>Microserv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9</cp:revision>
  <dcterms:created xsi:type="dcterms:W3CDTF">2022-05-05T08:26:31Z</dcterms:created>
  <dcterms:modified xsi:type="dcterms:W3CDTF">2022-07-06T11:0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